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6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indsætte titel på prædik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da-DK" dirty="0"/>
              <a:t>Disciplene ser en stor flok sultne mennesker, som de umuligt kan mætte. Jesus fyldes af barmhjertighed og ønsker, at vi skal inspireres til at dele det, vi har modtaget, </a:t>
            </a:r>
            <a:r>
              <a:rPr lang="da-DK"/>
              <a:t>ud. </a:t>
            </a:r>
          </a:p>
          <a:p>
            <a:r>
              <a:rPr lang="da-DK"/>
              <a:t>Når </a:t>
            </a:r>
            <a:r>
              <a:rPr lang="da-DK" dirty="0"/>
              <a:t>behovene er uoverskuelige og ressourcerne er begrænsede har vi desperat brug for et mirakel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rkus 6:31 - 44</a:t>
            </a:r>
            <a:endParaRPr lang="da-DK" sz="1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200" dirty="0"/>
              <a:t>Gud kalder os til at gå ud i tro og give det, vi har fået betroet, videre i tillid til, at han vil gøre mirakler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endParaRPr lang="da-DK" dirty="0"/>
          </a:p>
          <a:p>
            <a:r>
              <a:rPr lang="da-DK" sz="1200" dirty="0"/>
              <a:t>Hvad har Gud givet dig i din hånd, som du kan give videre i troen på, at Jesus vil velsigne det, idet du deler det ud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endParaRPr lang="da-DK" sz="12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643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sk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diken 29.11.20201 PAGER" id="{345F1684-2561-2B4F-8DAE-1715D5B2AE66}" vid="{43EDFB2B-7DD1-484B-9D19-7D6F41400DF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sk</Template>
  <TotalTime>12</TotalTime>
  <Words>122</Words>
  <Application>Microsoft Macintosh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Arial</vt:lpstr>
      <vt:lpstr>Century Gothic</vt:lpstr>
      <vt:lpstr>Verdana</vt:lpstr>
      <vt:lpstr>Wingdings 3</vt:lpstr>
      <vt:lpstr>Visk</vt:lpstr>
      <vt:lpstr>think-cell Slide</vt:lpstr>
      <vt:lpstr>Klik for at indsætte titel på prædike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ik for at indsætte titel på prædiken</dc:title>
  <dc:creator>Helle Samuelsen (DK)</dc:creator>
  <cp:lastModifiedBy>Jenny Glüsing</cp:lastModifiedBy>
  <cp:revision>1</cp:revision>
  <dcterms:created xsi:type="dcterms:W3CDTF">2023-06-06T09:00:43Z</dcterms:created>
  <dcterms:modified xsi:type="dcterms:W3CDTF">2023-06-13T09:5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